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8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9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0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11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76" r:id="rId2"/>
    <p:sldMasterId id="2147483681" r:id="rId3"/>
    <p:sldMasterId id="2147483686" r:id="rId4"/>
    <p:sldMasterId id="2147483689" r:id="rId5"/>
    <p:sldMasterId id="2147483808" r:id="rId6"/>
    <p:sldMasterId id="2147483811" r:id="rId7"/>
    <p:sldMasterId id="2147483814" r:id="rId8"/>
    <p:sldMasterId id="2147483817" r:id="rId9"/>
    <p:sldMasterId id="2147483888" r:id="rId10"/>
    <p:sldMasterId id="2147483893" r:id="rId11"/>
    <p:sldMasterId id="2147483896" r:id="rId12"/>
    <p:sldMasterId id="2147483901" r:id="rId13"/>
    <p:sldMasterId id="2147483915" r:id="rId14"/>
    <p:sldMasterId id="2147483920" r:id="rId15"/>
    <p:sldMasterId id="2147483925" r:id="rId16"/>
    <p:sldMasterId id="2147483930" r:id="rId17"/>
  </p:sldMasterIdLst>
  <p:notesMasterIdLst>
    <p:notesMasterId r:id="rId30"/>
  </p:notesMasterIdLst>
  <p:handoutMasterIdLst>
    <p:handoutMasterId r:id="rId31"/>
  </p:handoutMasterIdLst>
  <p:sldIdLst>
    <p:sldId id="1395" r:id="rId18"/>
    <p:sldId id="1427" r:id="rId19"/>
    <p:sldId id="1428" r:id="rId20"/>
    <p:sldId id="1429" r:id="rId21"/>
    <p:sldId id="1430" r:id="rId22"/>
    <p:sldId id="1431" r:id="rId23"/>
    <p:sldId id="1432" r:id="rId24"/>
    <p:sldId id="1433" r:id="rId25"/>
    <p:sldId id="1434" r:id="rId26"/>
    <p:sldId id="1437" r:id="rId27"/>
    <p:sldId id="1438" r:id="rId28"/>
    <p:sldId id="1439" r:id="rId29"/>
  </p:sldIdLst>
  <p:sldSz cx="9906000" cy="6858000" type="A4"/>
  <p:notesSz cx="9926638" cy="6797675"/>
  <p:custDataLst>
    <p:tags r:id="rId32"/>
  </p:custDataLst>
  <p:defaultTextStyle>
    <a:defPPr>
      <a:defRPr lang="ko-KR"/>
    </a:defPPr>
    <a:lvl1pPr marL="0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9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59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37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17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96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76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54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34" algn="l" defTabSz="914159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207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1298">
          <p15:clr>
            <a:srgbClr val="A4A3A4"/>
          </p15:clr>
        </p15:guide>
        <p15:guide id="5" pos="3120">
          <p15:clr>
            <a:srgbClr val="A4A3A4"/>
          </p15:clr>
        </p15:guide>
        <p15:guide id="6" pos="398">
          <p15:clr>
            <a:srgbClr val="A4A3A4"/>
          </p15:clr>
        </p15:guide>
        <p15:guide id="7" pos="59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99CCFF"/>
    <a:srgbClr val="000099"/>
    <a:srgbClr val="FFCC66"/>
    <a:srgbClr val="FFFFCC"/>
    <a:srgbClr val="FF5050"/>
    <a:srgbClr val="FF7C80"/>
    <a:srgbClr val="CCECFF"/>
    <a:srgbClr val="0000CC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테마 스타일 1 - 강조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730" autoAdjust="0"/>
    <p:restoredTop sz="95355" autoAdjust="0"/>
  </p:normalViewPr>
  <p:slideViewPr>
    <p:cSldViewPr>
      <p:cViewPr varScale="1">
        <p:scale>
          <a:sx n="63" d="100"/>
          <a:sy n="63" d="100"/>
        </p:scale>
        <p:origin x="1616" y="60"/>
      </p:cViewPr>
      <p:guideLst>
        <p:guide orient="horz" pos="2160"/>
        <p:guide orient="horz" pos="1207"/>
        <p:guide orient="horz" pos="4110"/>
        <p:guide orient="horz" pos="1298"/>
        <p:guide pos="3120"/>
        <p:guide pos="398"/>
        <p:guide pos="597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4" d="100"/>
        <a:sy n="94" d="100"/>
      </p:scale>
      <p:origin x="0" y="17304"/>
    </p:cViewPr>
  </p:sorterViewPr>
  <p:notesViewPr>
    <p:cSldViewPr showGuides="1">
      <p:cViewPr varScale="1">
        <p:scale>
          <a:sx n="79" d="100"/>
          <a:sy n="79" d="100"/>
        </p:scale>
        <p:origin x="-3030" y="-96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CFBAE2-6000-40FA-8EF3-FA273A5CD1C8}" type="datetimeFigureOut">
              <a:rPr lang="ko-KR" altLang="en-US" smtClean="0"/>
              <a:pPr/>
              <a:t>2018-02-0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383E7-33AD-4B8E-9FAF-464864C46C08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3958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2797" y="0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DBF7C61-6069-47FD-B18F-87D89C0D3AB6}" type="datetimeFigureOut">
              <a:rPr lang="ko-KR" altLang="en-US" smtClean="0"/>
              <a:pPr/>
              <a:t>2018-02-0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122613" y="509588"/>
            <a:ext cx="36814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2665" y="3228897"/>
            <a:ext cx="7941310" cy="3058954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2797" y="6456612"/>
            <a:ext cx="4301544" cy="33988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69C370C9-BC0E-43D6-87EF-93D57C81A1F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8996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9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59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37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17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96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76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54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34" algn="l" defTabSz="91415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22613" y="509588"/>
            <a:ext cx="3681412" cy="25495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431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1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014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0144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1C52D-6E31-4DDE-99DD-4FADD46A44AF}" type="slidenum">
              <a:rPr lang="ko-KR" altLang="en-US" smtClean="0">
                <a:solidFill>
                  <a:prstClr val="black"/>
                </a:solidFill>
              </a:rPr>
              <a:pPr/>
              <a:t>1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014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5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0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2031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7324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5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30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110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91" y="508600"/>
            <a:ext cx="326531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000000"/>
                </a:solidFill>
              </a:rPr>
              <a:t>Last Modified 2013-07-21 </a:t>
            </a:r>
            <a:r>
              <a:rPr lang="ko-KR" altLang="en-US" sz="1000">
                <a:solidFill>
                  <a:srgbClr val="000000"/>
                </a:solidFill>
              </a:rPr>
              <a:t>오후 </a:t>
            </a:r>
            <a:r>
              <a:rPr lang="en-US" altLang="ko-KR" sz="1000">
                <a:solidFill>
                  <a:srgbClr val="000000"/>
                </a:solidFill>
              </a:rPr>
              <a:t>1:53 </a:t>
            </a:r>
            <a:r>
              <a:rPr lang="en-US" sz="1000">
                <a:solidFill>
                  <a:srgbClr val="000000"/>
                </a:solidFill>
              </a:rPr>
              <a:t>Korea Standard Time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350" y="668962"/>
            <a:ext cx="4039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7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500" dirty="0">
                  <a:solidFill>
                    <a:srgbClr val="000000"/>
                  </a:solidFill>
                </a:rPr>
                <a:t>문서 유형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+mn-lt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+mn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500" dirty="0">
                  <a:solidFill>
                    <a:srgbClr val="000000"/>
                  </a:solidFill>
                </a:rPr>
                <a:t>날짜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97"/>
              <a:ext cx="3226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6009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900" dirty="0">
                  <a:solidFill>
                    <a:srgbClr val="000000"/>
                  </a:solidFill>
                </a:rPr>
                <a:t>비공개</a:t>
              </a:r>
              <a:r>
                <a:rPr lang="en-US" altLang="ko-KR" sz="900" dirty="0">
                  <a:solidFill>
                    <a:srgbClr val="000000"/>
                  </a:solidFill>
                </a:rPr>
                <a:t>/</a:t>
              </a:r>
              <a:r>
                <a:rPr lang="ko-KR" altLang="en-US" sz="900" dirty="0">
                  <a:solidFill>
                    <a:srgbClr val="000000"/>
                  </a:solidFill>
                </a:rPr>
                <a:t>기밀 문서 </a:t>
              </a:r>
              <a:br>
                <a:rPr lang="ko-KR" altLang="en-US" sz="900" dirty="0">
                  <a:solidFill>
                    <a:srgbClr val="000000"/>
                  </a:solidFill>
                </a:rPr>
              </a:br>
              <a:r>
                <a:rPr lang="ko-KR" altLang="en-US" sz="900" dirty="0">
                  <a:solidFill>
                    <a:srgbClr val="000000"/>
                  </a:solidFill>
                </a:rPr>
                <a:t>맥킨지의 명시적인 허가없이 본 자료를 사용하는 것은 엄격히 금지됩니다 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423417" y="6433735"/>
            <a:ext cx="7480828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0071" y="6574653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341" y="2176944"/>
            <a:ext cx="5455757" cy="1046440"/>
          </a:xfrm>
          <a:prstGeom prst="rect">
            <a:avLst/>
          </a:prstGeom>
        </p:spPr>
        <p:txBody>
          <a:bodyPr/>
          <a:lstStyle>
            <a:lvl1pPr>
              <a:defRPr sz="3400" b="0" baseline="0"/>
            </a:lvl1pPr>
          </a:lstStyle>
          <a:p>
            <a:pPr lvl="0" latinLnBrk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341" y="3945699"/>
            <a:ext cx="5455757" cy="230832"/>
          </a:xfrm>
        </p:spPr>
        <p:txBody>
          <a:bodyPr>
            <a:spAutoFit/>
          </a:bodyPr>
          <a:lstStyle>
            <a:lvl1pPr>
              <a:defRPr sz="1500" baseline="0"/>
            </a:lvl1pPr>
          </a:lstStyle>
          <a:p>
            <a:pPr lvl="0" latinLnBrk="0"/>
            <a:r>
              <a:rPr lang="en-US" altLang="ko-KR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0806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atinLnBrk="0"/>
            <a:r>
              <a:rPr lang="en-US" altLang="ko-KR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446244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217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6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</p:spTree>
    <p:extLst>
      <p:ext uri="{BB962C8B-B14F-4D97-AF65-F5344CB8AC3E}">
        <p14:creationId xmlns:p14="http://schemas.microsoft.com/office/powerpoint/2010/main" val="31332716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112641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10187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  <a:latin typeface="맑은 고딕"/>
                <a:sym typeface="맑은 고딕"/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</p:spTree>
    <p:extLst>
      <p:ext uri="{BB962C8B-B14F-4D97-AF65-F5344CB8AC3E}">
        <p14:creationId xmlns:p14="http://schemas.microsoft.com/office/powerpoint/2010/main" val="6102164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5873" y="144470"/>
            <a:ext cx="9027187" cy="331787"/>
          </a:xfrm>
          <a:prstGeom prst="rect">
            <a:avLst/>
          </a:prstGeom>
        </p:spPr>
        <p:txBody>
          <a:bodyPr lIns="91416" tIns="45708" rIns="91416" bIns="45708"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4460101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299032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5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10187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  <a:latin typeface="맑은 고딕"/>
                <a:sym typeface="맑은 고딕"/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</p:spTree>
    <p:extLst>
      <p:ext uri="{BB962C8B-B14F-4D97-AF65-F5344CB8AC3E}">
        <p14:creationId xmlns:p14="http://schemas.microsoft.com/office/powerpoint/2010/main" val="22128187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7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  <p:cxnSp>
        <p:nvCxnSpPr>
          <p:cNvPr id="9" name="직선 연결선 10"/>
          <p:cNvCxnSpPr/>
          <p:nvPr userDrawn="1"/>
        </p:nvCxnSpPr>
        <p:spPr bwMode="auto">
          <a:xfrm>
            <a:off x="160128" y="537755"/>
            <a:ext cx="955811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089022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5873" y="144470"/>
            <a:ext cx="9027187" cy="331787"/>
          </a:xfrm>
          <a:prstGeom prst="rect">
            <a:avLst/>
          </a:prstGeom>
        </p:spPr>
        <p:txBody>
          <a:bodyPr lIns="91416" tIns="45708" rIns="91416" bIns="45708"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97838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11982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7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  <p:cxnSp>
        <p:nvCxnSpPr>
          <p:cNvPr id="9" name="직선 연결선 10"/>
          <p:cNvCxnSpPr/>
          <p:nvPr userDrawn="1"/>
        </p:nvCxnSpPr>
        <p:spPr bwMode="auto">
          <a:xfrm>
            <a:off x="160128" y="537755"/>
            <a:ext cx="955811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60594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10166" y="234866"/>
            <a:ext cx="94484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</p:spTree>
    <p:extLst>
      <p:ext uri="{BB962C8B-B14F-4D97-AF65-F5344CB8AC3E}">
        <p14:creationId xmlns:p14="http://schemas.microsoft.com/office/powerpoint/2010/main" val="40224410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867" y="275358"/>
            <a:ext cx="8916278" cy="1141921"/>
          </a:xfrm>
          <a:prstGeom prst="rect">
            <a:avLst/>
          </a:prstGeom>
        </p:spPr>
        <p:txBody>
          <a:bodyPr lIns="93271" tIns="46635" rIns="93271" bIns="46635"/>
          <a:lstStyle/>
          <a:p>
            <a:r>
              <a:rPr lang="en-US" altLang="ko-KR"/>
              <a:t>Click to edit Master title sty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3226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6097" y="144470"/>
            <a:ext cx="9026531" cy="331787"/>
          </a:xfrm>
          <a:prstGeom prst="rect">
            <a:avLst/>
          </a:prstGeom>
        </p:spPr>
        <p:txBody>
          <a:bodyPr lIns="91096" tIns="45551" rIns="91096" bIns="45551"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406133" y="550260"/>
            <a:ext cx="9126935" cy="1231106"/>
          </a:xfr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176052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30306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7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sym typeface="맑은 고딕"/>
              </a:rPr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sym typeface="맑은 고딕"/>
            </a:endParaRPr>
          </a:p>
        </p:txBody>
      </p:sp>
      <p:sp>
        <p:nvSpPr>
          <p:cNvPr id="8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210162" y="234864"/>
            <a:ext cx="9448407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700">
                <a:solidFill>
                  <a:schemeClr val="tx1"/>
                </a:solidFill>
                <a:latin typeface="+mn-lt"/>
                <a:sym typeface="맑은 고딕"/>
              </a:defRPr>
            </a:lvl1pPr>
          </a:lstStyle>
          <a:p>
            <a:pPr lvl="0" latinLnBrk="0"/>
            <a:r>
              <a:rPr lang="en-US" altLang="ko-KR" dirty="0"/>
              <a:t>Click to edit Master title style</a:t>
            </a:r>
            <a:endParaRPr lang="ko-KR" altLang="es-ES_tradnl" dirty="0"/>
          </a:p>
        </p:txBody>
      </p:sp>
    </p:spTree>
    <p:extLst>
      <p:ext uri="{BB962C8B-B14F-4D97-AF65-F5344CB8AC3E}">
        <p14:creationId xmlns:p14="http://schemas.microsoft.com/office/powerpoint/2010/main" val="29875781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10867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4862" y="275358"/>
            <a:ext cx="8916278" cy="1141921"/>
          </a:xfrm>
          <a:prstGeom prst="rect">
            <a:avLst/>
          </a:prstGeom>
        </p:spPr>
        <p:txBody>
          <a:bodyPr lIns="97740" tIns="48870" rIns="97740" bIns="48870"/>
          <a:lstStyle>
            <a:lvl1pPr>
              <a:defRPr>
                <a:latin typeface="맑은 고딕"/>
                <a:sym typeface="맑은 고딕"/>
              </a:defRPr>
            </a:lvl1pPr>
          </a:lstStyle>
          <a:p>
            <a:r>
              <a:rPr lang="en-US" altLang="ko-KR"/>
              <a:t>Click to edit Master title sty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6300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6107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45" y="6447317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defTabSz="91440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defTabSz="9144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400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22" y="702302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351314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45" y="6447317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defTabSz="91440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defTabSz="91440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39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4229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400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22" y="702302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333984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6" y="213043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6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952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290699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1" y="1600204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831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44" y="4406912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44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37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4022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6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6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285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5812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6" y="476672"/>
            <a:ext cx="9906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1117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6" y="692708"/>
            <a:ext cx="9906000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914400"/>
            <a:r>
              <a:rPr lang="ko-KR" altLang="en-US" dirty="0">
                <a:solidFill>
                  <a:prstClr val="white">
                    <a:lumMod val="50000"/>
                  </a:prstClr>
                </a:solidFill>
                <a:latin typeface="나눔명조 ExtraBold" pitchFamily="18" charset="-127"/>
                <a:ea typeface="나눔명조 ExtraBold" pitchFamily="18" charset="-127"/>
              </a:rPr>
              <a:t> </a:t>
            </a:r>
          </a:p>
        </p:txBody>
      </p:sp>
      <p:sp>
        <p:nvSpPr>
          <p:cNvPr id="6" name="슬라이드 번호 개체 틀 5"/>
          <p:cNvSpPr txBox="1">
            <a:spLocks/>
          </p:cNvSpPr>
          <p:nvPr userDrawn="1"/>
        </p:nvSpPr>
        <p:spPr>
          <a:xfrm>
            <a:off x="7466136" y="6416687"/>
            <a:ext cx="2311400" cy="365125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algn="r" defTabSz="914400">
              <a:defRPr/>
            </a:pPr>
            <a:fld id="{CB36FAD4-9FD7-44B2-831F-BEA3729FE97C}" type="slidenum">
              <a:rPr lang="ko-KR" altLang="en-US" sz="1000" smtClean="0">
                <a:solidFill>
                  <a:prstClr val="black">
                    <a:tint val="75000"/>
                  </a:prstClr>
                </a:solidFill>
              </a:rPr>
              <a:pPr algn="r" defTabSz="914400">
                <a:defRPr/>
              </a:pPr>
              <a:t>‹#›</a:t>
            </a:fld>
            <a:endParaRPr lang="ko-KR" alt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3962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2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476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7033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1" y="1600204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02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43974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6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8601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06088" y="144465"/>
            <a:ext cx="9026531" cy="338554"/>
          </a:xfrm>
          <a:prstGeom prst="rect">
            <a:avLst/>
          </a:prstGeo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/>
          </p:nvPr>
        </p:nvSpPr>
        <p:spPr>
          <a:xfrm>
            <a:off x="406089" y="550260"/>
            <a:ext cx="9126935" cy="5616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4"/>
          </p:nvPr>
        </p:nvSpPr>
        <p:spPr>
          <a:xfrm>
            <a:off x="495380" y="6356353"/>
            <a:ext cx="231177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DEE1D86D-34D0-488D-A6C0-01C94B84CAE1}" type="datetimeFigureOut">
              <a:rPr lang="ko-KR" altLang="en-US"/>
              <a:pPr>
                <a:defRPr/>
              </a:pPr>
              <a:t>2018-02-0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5"/>
          </p:nvPr>
        </p:nvSpPr>
        <p:spPr>
          <a:xfrm>
            <a:off x="3385094" y="6356353"/>
            <a:ext cx="313581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8D708DA-F52F-4B39-9D1C-45424BED5C8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86277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57216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302299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968287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47970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4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23266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6" y="6447389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9404386" y="6447389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9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11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2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13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4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761013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94"/>
            <a:ext cx="2311400" cy="365125"/>
          </a:xfrm>
          <a:prstGeom prst="rect">
            <a:avLst/>
          </a:prstGeom>
        </p:spPr>
        <p:txBody>
          <a:bodyPr/>
          <a:lstStyle/>
          <a:p>
            <a:fld id="{6D18B11D-1890-4411-850C-24D019B15D9D}" type="datetimeFigureOut">
              <a:rPr lang="ko-KR" altLang="en-US" smtClean="0">
                <a:solidFill>
                  <a:srgbClr val="000000"/>
                </a:solidFill>
              </a:rPr>
              <a:pPr/>
              <a:t>2018-02-04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94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94"/>
            <a:ext cx="2311400" cy="365125"/>
          </a:xfrm>
          <a:prstGeom prst="rect">
            <a:avLst/>
          </a:prstGeom>
        </p:spPr>
        <p:txBody>
          <a:bodyPr/>
          <a:lstStyle/>
          <a:p>
            <a:fld id="{7FA1CBEC-596B-4685-B1CD-858A6874AFC2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0" y="692740"/>
            <a:ext cx="9906000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ko-KR" altLang="en-US" dirty="0">
                <a:solidFill>
                  <a:srgbClr val="FFFFFF">
                    <a:lumMod val="50000"/>
                  </a:srgbClr>
                </a:solidFill>
                <a:latin typeface="나눔명조 ExtraBold" pitchFamily="18" charset="-127"/>
                <a:ea typeface="나눔명조 ExtraBold" pitchFamily="18" charset="-127"/>
              </a:rPr>
              <a:t> </a:t>
            </a:r>
          </a:p>
        </p:txBody>
      </p:sp>
      <p:sp>
        <p:nvSpPr>
          <p:cNvPr id="6" name="슬라이드 번호 개체 틀 5"/>
          <p:cNvSpPr txBox="1">
            <a:spLocks/>
          </p:cNvSpPr>
          <p:nvPr userDrawn="1"/>
        </p:nvSpPr>
        <p:spPr>
          <a:xfrm>
            <a:off x="7466136" y="6416719"/>
            <a:ext cx="2311400" cy="365125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algn="r">
              <a:defRPr/>
            </a:pPr>
            <a:fld id="{CB36FAD4-9FD7-44B2-831F-BEA3729FE97C}" type="slidenum">
              <a:rPr lang="ko-KR" altLang="en-US" sz="1000" smtClean="0">
                <a:solidFill>
                  <a:srgbClr val="000000">
                    <a:tint val="75000"/>
                  </a:srgbClr>
                </a:solidFill>
              </a:rPr>
              <a:pPr algn="r">
                <a:defRPr/>
              </a:pPr>
              <a:t>‹#›</a:t>
            </a:fld>
            <a:endParaRPr lang="ko-KR" altLang="en-US" sz="1000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0517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667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992038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145390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6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531935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1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28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7693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53271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509227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60" y="644734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16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41" y="70233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67276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1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28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5687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 + 서브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8" name="텍스트 개체 틀 38"/>
          <p:cNvSpPr>
            <a:spLocks noGrp="1"/>
          </p:cNvSpPr>
          <p:nvPr>
            <p:ph type="body" idx="1"/>
          </p:nvPr>
        </p:nvSpPr>
        <p:spPr>
          <a:xfrm>
            <a:off x="776543" y="1095207"/>
            <a:ext cx="8339757" cy="2769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marL="0" indent="0" algn="l" defTabSz="913986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altLang="ko-KR" sz="1800" b="1" kern="1200" spc="-60" baseline="0" dirty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en-US" altLang="ko-KR" dirty="0"/>
          </a:p>
        </p:txBody>
      </p:sp>
      <p:sp>
        <p:nvSpPr>
          <p:cNvPr id="11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10166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6"/>
            <a:ext cx="990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74797"/>
            <a:endParaRPr lang="ko-KR" altLang="en-US" sz="1900">
              <a:solidFill>
                <a:srgbClr val="FFFFFF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453"/>
            <a:ext cx="2311400" cy="365125"/>
          </a:xfrm>
          <a:prstGeom prst="rect">
            <a:avLst/>
          </a:prstGeom>
        </p:spPr>
        <p:txBody>
          <a:bodyPr lIns="91416" tIns="45708" rIns="91416" bIns="45708"/>
          <a:lstStyle>
            <a:lvl1pPr>
              <a:defRPr sz="1000" b="1"/>
            </a:lvl1pPr>
          </a:lstStyle>
          <a:p>
            <a:pPr defTabSz="974797"/>
            <a:fld id="{2556B839-DC50-49AE-926C-7DB421CD2C6C}" type="slidenum">
              <a:rPr lang="ko-KR" altLang="en-US" smtClean="0">
                <a:solidFill>
                  <a:srgbClr val="000000"/>
                </a:solidFill>
              </a:rPr>
              <a:pPr defTabSz="974797"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84530" y="836712"/>
            <a:ext cx="436848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1187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템플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639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스터 _ 타이틀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9404384" y="6447385"/>
            <a:ext cx="121187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8B3AE5A-10BA-4173-8E7E-D8F2BB88D393}" type="slidenum">
              <a:rPr kumimoji="1" lang="en-US" altLang="ko-KR" sz="900" spc="-60" smtClean="0">
                <a:solidFill>
                  <a:srgbClr val="FFFFFF">
                    <a:lumMod val="75000"/>
                  </a:srgbClr>
                </a:solidFill>
                <a:cs typeface="굴림" pitchFamily="50" charset="-127"/>
              </a:rPr>
              <a:pPr algn="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ko-KR" sz="900" spc="-60" dirty="0">
              <a:solidFill>
                <a:srgbClr val="FFFFFF">
                  <a:lumMod val="75000"/>
                </a:srgbClr>
              </a:solidFill>
              <a:cs typeface="굴림" pitchFamily="50" charset="-127"/>
            </a:endParaRPr>
          </a:p>
        </p:txBody>
      </p:sp>
      <p:sp>
        <p:nvSpPr>
          <p:cNvPr id="7" name="제목 개체 틀 37"/>
          <p:cNvSpPr>
            <a:spLocks noGrp="1"/>
          </p:cNvSpPr>
          <p:nvPr>
            <p:ph type="title"/>
          </p:nvPr>
        </p:nvSpPr>
        <p:spPr>
          <a:xfrm>
            <a:off x="776536" y="621261"/>
            <a:ext cx="8335614" cy="40011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lvl1pPr algn="l">
              <a:defRPr lang="ko-KR" altLang="en-US" sz="2600" b="1" spc="-60" baseline="0" dirty="0">
                <a:ln>
                  <a:noFill/>
                </a:ln>
                <a:solidFill>
                  <a:schemeClr val="accent1"/>
                </a:solidFill>
                <a:latin typeface="+mn-ea"/>
                <a:ea typeface="+mn-ea"/>
              </a:defRPr>
            </a:lvl1pPr>
          </a:lstStyle>
          <a:p>
            <a:pPr marL="0" lvl="0" algn="l" defTabSz="914159" latinLnBrk="0"/>
            <a:r>
              <a:rPr lang="ko-KR" altLang="en-US" dirty="0"/>
              <a:t>마스터 제목 스타일 편집</a:t>
            </a:r>
          </a:p>
        </p:txBody>
      </p:sp>
      <p:sp>
        <p:nvSpPr>
          <p:cNvPr id="5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271752" y="702370"/>
            <a:ext cx="468831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00" b="1" spc="-60" baseline="0">
                <a:ln>
                  <a:noFill/>
                </a:ln>
                <a:solidFill>
                  <a:schemeClr val="accent6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01270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88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vmlDrawing" Target="../drawings/vmlDrawing9.vml"/><Relationship Id="rId15" Type="http://schemas.openxmlformats.org/officeDocument/2006/relationships/tags" Target="../tags/tag87.xml"/><Relationship Id="rId10" Type="http://schemas.openxmlformats.org/officeDocument/2006/relationships/tags" Target="../tags/tag82.xml"/><Relationship Id="rId4" Type="http://schemas.openxmlformats.org/officeDocument/2006/relationships/theme" Target="../theme/theme10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3" Type="http://schemas.openxmlformats.org/officeDocument/2006/relationships/theme" Target="../theme/theme11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vmlDrawing" Target="../drawings/vmlDrawing10.v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4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52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5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4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image" Target="../media/image2.emf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vmlDrawing" Target="../drawings/vmlDrawing2.v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heme" Target="../theme/theme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3" Type="http://schemas.openxmlformats.org/officeDocument/2006/relationships/theme" Target="../theme/theme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4" Type="http://schemas.openxmlformats.org/officeDocument/2006/relationships/vmlDrawing" Target="../drawings/vmlDrawing3.v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vmlDrawing" Target="../drawings/vmlDrawing5.v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heme" Target="../theme/theme7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3" Type="http://schemas.openxmlformats.org/officeDocument/2006/relationships/theme" Target="../theme/theme8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4" Type="http://schemas.openxmlformats.org/officeDocument/2006/relationships/vmlDrawing" Target="../drawings/vmlDrawing7.v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3" Type="http://schemas.openxmlformats.org/officeDocument/2006/relationships/vmlDrawing" Target="../drawings/vmlDrawing8.v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2" Type="http://schemas.openxmlformats.org/officeDocument/2006/relationships/theme" Target="../theme/theme9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090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41792630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2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27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838967" y="1980995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Last Modified 2013-07-05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7:49 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946372" y="4198983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Printed 2013-07-05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3:48 </a:t>
            </a: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605670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2" y="542671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</a:rPr>
              <a:t>Unit of measure</a:t>
            </a:r>
            <a:endParaRPr lang="ko-KR" altLang="es-ES_tradnl" sz="1600" dirty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10" indent="-621810" defTabSz="913285" fontAlgn="base" latinLnBrk="0">
                <a:spcBef>
                  <a:spcPct val="0"/>
                </a:spcBef>
                <a:spcAft>
                  <a:spcPct val="0"/>
                </a:spcAft>
                <a:tabLst>
                  <a:tab pos="625049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60567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306511" y="6534109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296796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</p:sldLayoutIdLst>
  <p:hf hdr="0" ftr="0" dt="0"/>
  <p:txStyles>
    <p:titleStyle>
      <a:lvl1pPr algn="l" defTabSz="913285" rtl="0" eaLnBrk="1" fontAlgn="base" latinLnBrk="1" hangingPunct="1">
        <a:spcBef>
          <a:spcPct val="0"/>
        </a:spcBef>
        <a:spcAft>
          <a:spcPct val="0"/>
        </a:spcAft>
        <a:tabLst>
          <a:tab pos="364343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357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716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907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543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555" indent="-195936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357" indent="-267184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668" indent="-158692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7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16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7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3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89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48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05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64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55578376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3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7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2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900" dirty="0">
              <a:solidFill>
                <a:srgbClr val="000000"/>
              </a:solidFill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18122" y="1980988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9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8:14 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32737" y="4198976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defTabSz="914400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7-05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6 </a:t>
            </a: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2" y="27536"/>
            <a:ext cx="79560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500" dirty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5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12" y="542616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700" dirty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7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17" y="6189102"/>
            <a:ext cx="9449744" cy="540995"/>
            <a:chOff x="75" y="3821"/>
            <a:chExt cx="5385" cy="334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100" dirty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100" dirty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0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51601" indent="-651601" defTabSz="9570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54995" algn="l"/>
                </a:tabLst>
              </a:pPr>
              <a:r>
                <a:rPr lang="ko-KR" altLang="es-ES_tradnl" sz="11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100" dirty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1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68" y="1127342"/>
            <a:ext cx="4713466" cy="540994"/>
            <a:chOff x="915" y="696"/>
            <a:chExt cx="2686" cy="334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700" b="1" dirty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defTabSz="914400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700" dirty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7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786020" y="6559606"/>
            <a:ext cx="142506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02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570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107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</p:sldLayoutIdLst>
  <p:hf hdr="0" ftr="0" dt="0"/>
  <p:txStyles>
    <p:titleStyle>
      <a:lvl1pPr algn="l" defTabSz="957040" rtl="0" eaLnBrk="1" fontAlgn="base" latinLnBrk="1" hangingPunct="1">
        <a:spcBef>
          <a:spcPct val="0"/>
        </a:spcBef>
        <a:spcAft>
          <a:spcPct val="0"/>
        </a:spcAft>
        <a:tabLst>
          <a:tab pos="381798" algn="l"/>
        </a:tabLst>
        <a:defRPr sz="20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2pPr>
      <a:lvl3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3pPr>
      <a:lvl4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4pPr>
      <a:lvl5pPr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5pPr>
      <a:lvl6pPr marL="488701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6pPr>
      <a:lvl7pPr marL="977402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7pPr>
      <a:lvl8pPr marL="1466103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8pPr>
      <a:lvl9pPr marL="1954804" algn="l" defTabSz="957040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1pPr>
      <a:lvl2pPr marL="207019" indent="-205323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2pPr>
      <a:lvl3pPr marL="488701" indent="-279986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3pPr>
      <a:lvl4pPr marL="656693" indent="-16629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4pPr>
      <a:lvl5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+mn-ea" pitchFamily="18" charset="-127"/>
          <a:cs typeface="Arial" pitchFamily="34" charset="0"/>
          <a:sym typeface="맑은 고딕"/>
        </a:defRPr>
      </a:lvl5pPr>
      <a:lvl6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01470" indent="-139144" algn="l" defTabSz="9570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386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</p:sldLayoutIdLst>
  <p:txStyles>
    <p:titleStyle>
      <a:lvl1pPr algn="ctr" defTabSz="914229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6" indent="-342836" algn="l" defTabSz="914229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1" indent="-285697" algn="l" defTabSz="914229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6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1" indent="-228556" algn="l" defTabSz="914229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6" indent="-228556" algn="l" defTabSz="914229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4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7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3" indent="-228556" algn="l" defTabSz="91422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5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7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1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4" algn="l" defTabSz="91422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299" y="635636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6D18B11D-1890-4411-850C-24D019B15D9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2018-02-04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6" y="635636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1" y="635636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7FA1CBEC-596B-4685-B1CD-858A6874AFC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02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200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465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780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41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971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936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</p:sldLayoutIdLst>
  <p:txStyles>
    <p:titleStyle>
      <a:lvl1pPr algn="ctr" defTabSz="913986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6" indent="-342746" algn="l" defTabSz="913986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5" indent="-285622" algn="l" defTabSz="913986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77" indent="-228494" algn="l" defTabSz="913986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1" indent="-228494" algn="l" defTabSz="913986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4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59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1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7" indent="-228494" algn="l" defTabSz="913986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6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4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8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2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5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7" algn="l" defTabSz="91398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42892324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5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8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28775"/>
            <a:ext cx="9906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15" tIns="48857" rIns="97715" bIns="48857" anchor="ctr"/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endParaRPr lang="en-US" sz="17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838996" y="198103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Last Modified 2013-07-21 </a:t>
            </a:r>
            <a:r>
              <a:rPr lang="ko-KR" altLang="en-US" sz="600">
                <a:solidFill>
                  <a:srgbClr val="000000"/>
                </a:solidFill>
              </a:rPr>
              <a:t>오후 </a:t>
            </a:r>
            <a:r>
              <a:rPr lang="en-US" altLang="ko-KR" sz="600">
                <a:solidFill>
                  <a:srgbClr val="000000"/>
                </a:solidFill>
              </a:rPr>
              <a:t>1:53 </a:t>
            </a:r>
            <a:r>
              <a:rPr lang="en-US" sz="600">
                <a:solidFill>
                  <a:srgbClr val="000000"/>
                </a:solidFill>
              </a:rPr>
              <a:t>Korea Standard Tim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9706158" y="4199034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605670" y="1990667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noProof="0"/>
              <a:t>Click to edit Master text styles</a:t>
            </a:r>
          </a:p>
          <a:p>
            <a:pPr lvl="1" latinLnBrk="0"/>
            <a:r>
              <a:rPr lang="en-US" altLang="ko-KR" noProof="0"/>
              <a:t>Second level</a:t>
            </a:r>
          </a:p>
          <a:p>
            <a:pPr lvl="2" latinLnBrk="0"/>
            <a:r>
              <a:rPr lang="en-US" altLang="ko-KR" noProof="0"/>
              <a:t>Third level</a:t>
            </a:r>
          </a:p>
          <a:p>
            <a:pPr lvl="3" latinLnBrk="0"/>
            <a:r>
              <a:rPr lang="en-US" altLang="ko-KR" noProof="0"/>
              <a:t>Fourth level</a:t>
            </a:r>
          </a:p>
          <a:p>
            <a:pPr lvl="4" latinLnBrk="0"/>
            <a:r>
              <a:rPr lang="en-US" altLang="ko-KR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31613" y="234873"/>
            <a:ext cx="9526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2" y="27536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2" y="542622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31617" y="6189158"/>
            <a:ext cx="9449744" cy="540995"/>
            <a:chOff x="75" y="3821"/>
            <a:chExt cx="5385" cy="3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dirty="0">
                  <a:solidFill>
                    <a:srgbClr val="000000"/>
                  </a:solidFill>
                </a:rPr>
                <a:t>1 </a:t>
              </a:r>
              <a:r>
                <a:rPr lang="ko-KR" altLang="en-US" sz="1100" dirty="0">
                  <a:solidFill>
                    <a:srgbClr val="000000"/>
                  </a:solidFill>
                </a:rPr>
                <a:t>주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0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29110" indent="-329110" defTabSz="956787"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100" dirty="0">
                  <a:solidFill>
                    <a:srgbClr val="000000"/>
                  </a:solidFill>
                </a:rPr>
                <a:t>자료</a:t>
              </a:r>
              <a:r>
                <a:rPr lang="en-US" sz="1100" dirty="0">
                  <a:solidFill>
                    <a:srgbClr val="000000"/>
                  </a:solidFill>
                </a:rPr>
                <a:t>: </a:t>
              </a:r>
              <a:r>
                <a:rPr lang="ko-KR" altLang="en-US" sz="1100" dirty="0">
                  <a:solidFill>
                    <a:srgbClr val="000000"/>
                  </a:solidFill>
                </a:rPr>
                <a:t>자료 출처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70" y="1127342"/>
            <a:ext cx="4713466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822896" y="6559664"/>
            <a:ext cx="138820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9306511" y="6534160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56787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470587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hf hdr="0" ftr="0" dt="0"/>
  <p:txStyles>
    <p:titleStyle>
      <a:lvl1pPr algn="l" defTabSz="956787" rtl="0" eaLnBrk="1" fontAlgn="base" latinLnBrk="1" hangingPunct="1">
        <a:spcBef>
          <a:spcPct val="0"/>
        </a:spcBef>
        <a:spcAft>
          <a:spcPct val="0"/>
        </a:spcAft>
        <a:tabLst/>
        <a:defRPr sz="20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2pPr>
      <a:lvl3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3pPr>
      <a:lvl4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4pPr>
      <a:lvl5pPr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5pPr>
      <a:lvl6pPr marL="488573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6pPr>
      <a:lvl7pPr marL="977143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7pPr>
      <a:lvl8pPr marL="1465717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8pPr>
      <a:lvl9pPr marL="1954288" algn="l" defTabSz="956787" rtl="0" eaLnBrk="1" fontAlgn="base" latinLnBrk="1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700" baseline="0">
          <a:solidFill>
            <a:schemeClr val="tx1"/>
          </a:solidFill>
          <a:latin typeface="+mn-lt"/>
          <a:ea typeface="+mn-ea"/>
          <a:cs typeface="+mn-cs"/>
        </a:defRPr>
      </a:lvl1pPr>
      <a:lvl2pPr marL="206964" indent="-205269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00" baseline="0">
          <a:solidFill>
            <a:schemeClr val="tx1"/>
          </a:solidFill>
          <a:latin typeface="+mn-lt"/>
        </a:defRPr>
      </a:lvl2pPr>
      <a:lvl3pPr marL="488573" indent="-279912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 baseline="0">
          <a:solidFill>
            <a:schemeClr val="tx1"/>
          </a:solidFill>
          <a:latin typeface="+mn-lt"/>
        </a:defRPr>
      </a:lvl3pPr>
      <a:lvl4pPr marL="656519" indent="-166249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 baseline="0">
          <a:solidFill>
            <a:schemeClr val="tx1"/>
          </a:solidFill>
          <a:latin typeface="+mn-lt"/>
        </a:defRPr>
      </a:lvl4pPr>
      <a:lvl5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5pPr>
      <a:lvl6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258" indent="-139107" algn="l" defTabSz="956787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57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14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717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288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2861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1430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003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8575" algn="l" defTabSz="977143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92570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47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7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38996" y="198103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Last Modified 2013-07-05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7:49 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46398" y="419903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Printed 2013-07-05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3:48 </a:t>
            </a: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0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2" y="542671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</a:rPr>
              <a:t>Unit of measure</a:t>
            </a:r>
            <a:endParaRPr lang="ko-KR" altLang="es-ES_tradnl" sz="1600" dirty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10" indent="-621810" defTabSz="913285" fontAlgn="base" latinLnBrk="0">
                <a:spcBef>
                  <a:spcPct val="0"/>
                </a:spcBef>
                <a:spcAft>
                  <a:spcPct val="0"/>
                </a:spcAft>
                <a:tabLst>
                  <a:tab pos="625049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7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6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85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751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hf hdr="0" ftr="0" dt="0"/>
  <p:txStyles>
    <p:titleStyle>
      <a:lvl1pPr algn="l" defTabSz="913285" rtl="0" eaLnBrk="1" fontAlgn="base" latinLnBrk="1" hangingPunct="1">
        <a:spcBef>
          <a:spcPct val="0"/>
        </a:spcBef>
        <a:spcAft>
          <a:spcPct val="0"/>
        </a:spcAft>
        <a:tabLst>
          <a:tab pos="364343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357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716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907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5431" algn="l" defTabSz="913285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555" indent="-195936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357" indent="-267184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668" indent="-158692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27" indent="-132783" algn="l" defTabSz="913285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7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16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7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31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89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48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05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64" algn="l" defTabSz="93271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83373371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47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7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18152" y="1981041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5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9 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32767" y="4199030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6-26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9:25 </a:t>
            </a: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34" y="27542"/>
            <a:ext cx="74283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4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34" y="54268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6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693" indent="-620693" defTabSz="9116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23922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919071" y="6567250"/>
            <a:ext cx="12920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62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84804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</p:sldLayoutIdLst>
  <p:hf hdr="0" ftr="0" dt="0"/>
  <p:txStyles>
    <p:titleStyle>
      <a:lvl1pPr algn="l" defTabSz="911640" rtl="0" eaLnBrk="1" fontAlgn="base" latinLnBrk="1" hangingPunct="1">
        <a:spcBef>
          <a:spcPct val="0"/>
        </a:spcBef>
        <a:spcAft>
          <a:spcPct val="0"/>
        </a:spcAft>
        <a:tabLst>
          <a:tab pos="363687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5507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1036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6555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2071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1pPr>
      <a:lvl2pPr marL="197199" indent="-195584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2pPr>
      <a:lvl3pPr marL="465507" indent="-26670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3pPr>
      <a:lvl4pPr marL="625542" indent="-158408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4pPr>
      <a:lvl5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5pPr>
      <a:lvl6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0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3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555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071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592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108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62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14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1053378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2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7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18147" y="1981036"/>
            <a:ext cx="20213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Last Modified 2013-07-05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3:39 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32762" y="4199024"/>
            <a:ext cx="179215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Printed 2013-06-26 </a:t>
            </a:r>
            <a:r>
              <a:rPr lang="ko-KR" altLang="en-US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오전 </a:t>
            </a:r>
            <a:r>
              <a:rPr lang="en-US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9:25 </a:t>
            </a:r>
            <a:r>
              <a:rPr lang="es-ES_tradnl" altLang="ko-KR" sz="600">
                <a:solidFill>
                  <a:srgbClr val="000000"/>
                </a:solidFill>
                <a:latin typeface="맑은 고딕"/>
                <a:cs typeface="Arial" pitchFamily="34" charset="0"/>
                <a:sym typeface="맑은 고딕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latin typeface="맑은 고딕"/>
              <a:cs typeface="Arial" pitchFamily="34" charset="0"/>
              <a:sym typeface="맑은 고딕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34" y="27542"/>
            <a:ext cx="74283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  <a:latin typeface="맑은 고딕"/>
                <a:sym typeface="맑은 고딕"/>
              </a:rPr>
              <a:t>TRACKER</a:t>
            </a:r>
            <a:endParaRPr lang="ko-KR" altLang="es-ES_tradnl" sz="14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34" y="54268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  <a:latin typeface="맑은 고딕"/>
                <a:sym typeface="맑은 고딕"/>
              </a:rPr>
              <a:t>Unit of measure</a:t>
            </a:r>
            <a:endParaRPr lang="ko-KR" altLang="es-ES_tradnl" sz="1600" dirty="0">
              <a:solidFill>
                <a:srgbClr val="808080"/>
              </a:solidFill>
              <a:latin typeface="맑은 고딕"/>
              <a:sym typeface="맑은 고딕"/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693" indent="-620693" defTabSz="911640" fontAlgn="base" latinLnBrk="0">
                <a:spcBef>
                  <a:spcPct val="0"/>
                </a:spcBef>
                <a:spcAft>
                  <a:spcPct val="0"/>
                </a:spcAft>
                <a:tabLst>
                  <a:tab pos="623922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  <a:latin typeface="맑은 고딕"/>
                  <a:sym typeface="맑은 고딕"/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  <a:latin typeface="맑은 고딕"/>
                  <a:sym typeface="맑은 고딕"/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  <a:latin typeface="맑은 고딕"/>
                  <a:sym typeface="맑은 고딕"/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  <a:latin typeface="맑은 고딕"/>
                <a:sym typeface="맑은 고딕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19071" y="6567250"/>
            <a:ext cx="129202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맑은 고딕"/>
                <a:sym typeface="맑은 고딕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56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64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맑은 고딕"/>
                <a:sym typeface="맑은 고딕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515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</p:sldLayoutIdLst>
  <p:hf hdr="0" ftr="0" dt="0"/>
  <p:txStyles>
    <p:titleStyle>
      <a:lvl1pPr algn="l" defTabSz="911640" rtl="0" eaLnBrk="1" fontAlgn="base" latinLnBrk="1" hangingPunct="1">
        <a:spcBef>
          <a:spcPct val="0"/>
        </a:spcBef>
        <a:spcAft>
          <a:spcPct val="0"/>
        </a:spcAft>
        <a:tabLst>
          <a:tab pos="363687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5507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1036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6555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2071" algn="l" defTabSz="91164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1pPr>
      <a:lvl2pPr marL="197199" indent="-195584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2pPr>
      <a:lvl3pPr marL="465507" indent="-26670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3pPr>
      <a:lvl4pPr marL="625542" indent="-158408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4pPr>
      <a:lvl5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맑은 고딕"/>
          <a:ea typeface="+mn-ea" pitchFamily="18" charset="-127"/>
          <a:cs typeface="Arial" pitchFamily="34" charset="0"/>
          <a:sym typeface="맑은 고딕"/>
        </a:defRPr>
      </a:lvl5pPr>
      <a:lvl6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450" indent="-132543" algn="l" defTabSz="91164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0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3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555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071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592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108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626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147" algn="l" defTabSz="93103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543536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57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7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38982" y="1981024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Last Modified 2013-07-04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1:52 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46385" y="419901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Printed 2013-06-26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9:25 </a:t>
            </a: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1622" y="54267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</a:rPr>
              <a:t>Unit of measure</a:t>
            </a:r>
            <a:endParaRPr lang="ko-KR" altLang="es-ES_tradnl" sz="1600" dirty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416" indent="-621416" defTabSz="912702" fontAlgn="base" latinLnBrk="0">
                <a:spcBef>
                  <a:spcPct val="0"/>
                </a:spcBef>
                <a:spcAft>
                  <a:spcPct val="0"/>
                </a:spcAft>
                <a:tabLst>
                  <a:tab pos="624650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06511" y="653414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cxnSp>
        <p:nvCxnSpPr>
          <p:cNvPr id="24" name="직선 연결선 10"/>
          <p:cNvCxnSpPr/>
          <p:nvPr userDrawn="1"/>
        </p:nvCxnSpPr>
        <p:spPr bwMode="auto">
          <a:xfrm>
            <a:off x="210177" y="537755"/>
            <a:ext cx="945803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3865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</p:sldLayoutIdLst>
  <p:hf hdr="0" ftr="0" dt="0"/>
  <p:txStyles>
    <p:titleStyle>
      <a:lvl1pPr algn="l" defTabSz="912702" rtl="0" eaLnBrk="1" fontAlgn="base" latinLnBrk="1" hangingPunct="1">
        <a:spcBef>
          <a:spcPct val="0"/>
        </a:spcBef>
        <a:spcAft>
          <a:spcPct val="0"/>
        </a:spcAft>
        <a:tabLst>
          <a:tab pos="364111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058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121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8183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4245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430" indent="-19581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058" indent="-267015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273" indent="-15859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5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121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183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24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30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36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43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492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0316855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9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7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933842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endParaRPr lang="ko-KR" altLang="es-ES_tradnl" sz="7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838976" y="1981017"/>
            <a:ext cx="19797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Last Modified 2013-07-04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1:52 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946380" y="4199005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+mn-lt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+mn-lt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+mn-l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Printed 2013-06-26 </a:t>
            </a:r>
            <a:r>
              <a:rPr lang="ko-KR" altLang="en-US" sz="600">
                <a:solidFill>
                  <a:srgbClr val="000000"/>
                </a:solidFill>
                <a:cs typeface="Arial" pitchFamily="34" charset="0"/>
              </a:rPr>
              <a:t>오전 </a:t>
            </a:r>
            <a:r>
              <a:rPr lang="en-US" altLang="ko-KR" sz="600">
                <a:solidFill>
                  <a:srgbClr val="000000"/>
                </a:solidFill>
                <a:cs typeface="Arial" pitchFamily="34" charset="0"/>
              </a:rPr>
              <a:t>9:25 </a:t>
            </a:r>
            <a:r>
              <a:rPr lang="es-ES_tradnl" altLang="ko-KR" sz="600">
                <a:solidFill>
                  <a:srgbClr val="000000"/>
                </a:solidFill>
                <a:cs typeface="Arial" pitchFamily="34" charset="0"/>
              </a:rPr>
              <a:t>Korea Standard Time</a:t>
            </a:r>
            <a:endParaRPr lang="ko-KR" altLang="es-ES_tradnl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605673" y="1990667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altLang="ko-KR"/>
              <a:t>Click to edit Master text styles</a:t>
            </a:r>
          </a:p>
          <a:p>
            <a:pPr lvl="1" latinLnBrk="0"/>
            <a:r>
              <a:rPr lang="en-US" altLang="ko-KR"/>
              <a:t>Second level</a:t>
            </a:r>
          </a:p>
          <a:p>
            <a:pPr lvl="2" latinLnBrk="0"/>
            <a:r>
              <a:rPr lang="en-US" altLang="ko-KR"/>
              <a:t>Third level</a:t>
            </a:r>
          </a:p>
          <a:p>
            <a:pPr lvl="3" latinLnBrk="0"/>
            <a:r>
              <a:rPr lang="en-US" altLang="ko-KR"/>
              <a:t>Fourth level</a:t>
            </a:r>
          </a:p>
          <a:p>
            <a:pPr lvl="4" latinLnBrk="0"/>
            <a:r>
              <a:rPr lang="en-US" altLang="ko-KR"/>
              <a:t>Fifth level</a:t>
            </a:r>
            <a:endParaRPr lang="ko-KR" altLang="es-ES_tradnl" dirty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1613" y="2754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 latinLnBrk="0">
              <a:spcBef>
                <a:spcPct val="0"/>
              </a:spcBef>
              <a:spcAft>
                <a:spcPct val="0"/>
              </a:spcAft>
            </a:pPr>
            <a:r>
              <a:rPr lang="es-ES_tradnl" altLang="ko-KR" sz="1400" dirty="0">
                <a:solidFill>
                  <a:srgbClr val="808080"/>
                </a:solidFill>
              </a:rPr>
              <a:t>TRACKER</a:t>
            </a:r>
            <a:endParaRPr lang="ko-KR" altLang="es-ES_tradnl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1622" y="542672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+mj-lt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+mj-lt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+mj-lt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+mj-lt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+mj-lt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 charset="0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altLang="ko-KR" sz="1600" dirty="0">
                <a:solidFill>
                  <a:srgbClr val="808080"/>
                </a:solidFill>
              </a:rPr>
              <a:t>Unit of measure</a:t>
            </a:r>
            <a:endParaRPr lang="ko-KR" altLang="es-ES_tradnl" sz="1600" dirty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31623" y="6205305"/>
            <a:ext cx="9449743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+mj-lt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+mj-lt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+mj-lt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+mj-lt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+mj-lt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+mj-lt" charset="0"/>
                </a:defRPr>
              </a:lvl9pPr>
            </a:lstStyle>
            <a:p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altLang="ko-KR" sz="1000" dirty="0">
                  <a:solidFill>
                    <a:srgbClr val="000000"/>
                  </a:solidFill>
                </a:rPr>
                <a:t>1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주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416" indent="-621416" defTabSz="912702" fontAlgn="base" latinLnBrk="0">
                <a:spcBef>
                  <a:spcPct val="0"/>
                </a:spcBef>
                <a:spcAft>
                  <a:spcPct val="0"/>
                </a:spcAft>
                <a:tabLst>
                  <a:tab pos="624650" algn="l"/>
                </a:tabLst>
              </a:pPr>
              <a:r>
                <a:rPr lang="ko-KR" altLang="es-ES_tradnl" sz="1000" dirty="0">
                  <a:solidFill>
                    <a:srgbClr val="000000"/>
                  </a:solidFill>
                </a:rPr>
                <a:t>자료</a:t>
              </a:r>
              <a:r>
                <a:rPr lang="es-ES_tradnl" altLang="ko-KR" sz="1000" dirty="0">
                  <a:solidFill>
                    <a:srgbClr val="000000"/>
                  </a:solidFill>
                </a:rPr>
                <a:t>: </a:t>
              </a:r>
              <a:r>
                <a:rPr lang="ko-KR" altLang="es-ES_tradnl" sz="1000" dirty="0">
                  <a:solidFill>
                    <a:srgbClr val="000000"/>
                  </a:solidFill>
                </a:rPr>
                <a:t>자료 출처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605680" y="1158119"/>
            <a:ext cx="4713466" cy="510220"/>
            <a:chOff x="915" y="715"/>
            <a:chExt cx="2686" cy="315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ko-KR" sz="1600" dirty="0">
                  <a:solidFill>
                    <a:srgbClr val="808080"/>
                  </a:solidFill>
                </a:rPr>
                <a:t>Unit of measure</a:t>
              </a:r>
              <a:endParaRPr lang="ko-KR" altLang="es-ES_tradn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54341" y="656725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06511" y="6534131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702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cxnSp>
        <p:nvCxnSpPr>
          <p:cNvPr id="24" name="직선 연결선 10"/>
          <p:cNvCxnSpPr/>
          <p:nvPr userDrawn="1"/>
        </p:nvCxnSpPr>
        <p:spPr bwMode="auto">
          <a:xfrm>
            <a:off x="210177" y="537755"/>
            <a:ext cx="945803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6499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hf hdr="0" ftr="0" dt="0"/>
  <p:txStyles>
    <p:titleStyle>
      <a:lvl1pPr algn="l" defTabSz="912702" rtl="0" eaLnBrk="1" fontAlgn="base" latinLnBrk="1" hangingPunct="1">
        <a:spcBef>
          <a:spcPct val="0"/>
        </a:spcBef>
        <a:spcAft>
          <a:spcPct val="0"/>
        </a:spcAft>
        <a:tabLst>
          <a:tab pos="364111" algn="l"/>
        </a:tabLst>
        <a:defRPr sz="1900" b="1">
          <a:solidFill>
            <a:schemeClr val="tx2"/>
          </a:solidFill>
          <a:latin typeface="+mj-lt" pitchFamily="34" charset="0"/>
          <a:ea typeface="+mj-ea" pitchFamily="18" charset="-127"/>
          <a:cs typeface="Arial" pitchFamily="34" charset="0"/>
        </a:defRPr>
      </a:lvl1pPr>
      <a:lvl2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2pPr>
      <a:lvl3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3pPr>
      <a:lvl4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4pPr>
      <a:lvl5pPr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5pPr>
      <a:lvl6pPr marL="466058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6pPr>
      <a:lvl7pPr marL="932121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7pPr>
      <a:lvl8pPr marL="1398183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8pPr>
      <a:lvl9pPr marL="1864245" algn="l" defTabSz="912702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 charset="0"/>
        </a:defRPr>
      </a:lvl9pPr>
    </p:titleStyle>
    <p:bodyStyle>
      <a:lvl1pPr marL="0" indent="0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1pPr>
      <a:lvl2pPr marL="197430" indent="-19581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2pPr>
      <a:lvl3pPr marL="466058" indent="-267015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3pPr>
      <a:lvl4pPr marL="626273" indent="-158592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4pPr>
      <a:lvl5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 pitchFamily="34" charset="0"/>
          <a:ea typeface="+mn-ea" pitchFamily="18" charset="-127"/>
          <a:cs typeface="Arial" pitchFamily="34" charset="0"/>
        </a:defRPr>
      </a:lvl5pPr>
      <a:lvl6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340" indent="-132698" algn="l" defTabSz="912702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5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121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183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24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308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365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430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492" algn="l" defTabSz="932121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tags" Target="../tags/tag123.xml"/><Relationship Id="rId7" Type="http://schemas.openxmlformats.org/officeDocument/2006/relationships/image" Target="../media/image10.emf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tags" Target="../tags/tag122.xml"/><Relationship Id="rId16" Type="http://schemas.openxmlformats.org/officeDocument/2006/relationships/image" Target="../media/image27.jpeg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2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6.jpeg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0.jpeg"/><Relationship Id="rId1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12" Type="http://schemas.openxmlformats.org/officeDocument/2006/relationships/image" Target="../media/image33.jpeg"/><Relationship Id="rId17" Type="http://schemas.openxmlformats.org/officeDocument/2006/relationships/image" Target="../media/image38.jpeg"/><Relationship Id="rId2" Type="http://schemas.openxmlformats.org/officeDocument/2006/relationships/tags" Target="../tags/tag124.xml"/><Relationship Id="rId16" Type="http://schemas.openxmlformats.org/officeDocument/2006/relationships/image" Target="../media/image37.jpeg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32.jpe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30.jpeg"/><Relationship Id="rId1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jpeg"/><Relationship Id="rId3" Type="http://schemas.openxmlformats.org/officeDocument/2006/relationships/tags" Target="../tags/tag127.xml"/><Relationship Id="rId7" Type="http://schemas.openxmlformats.org/officeDocument/2006/relationships/image" Target="../media/image10.emf"/><Relationship Id="rId12" Type="http://schemas.openxmlformats.org/officeDocument/2006/relationships/image" Target="../media/image43.jpeg"/><Relationship Id="rId17" Type="http://schemas.openxmlformats.org/officeDocument/2006/relationships/image" Target="../media/image48.jpeg"/><Relationship Id="rId2" Type="http://schemas.openxmlformats.org/officeDocument/2006/relationships/tags" Target="../tags/tag126.xml"/><Relationship Id="rId16" Type="http://schemas.openxmlformats.org/officeDocument/2006/relationships/image" Target="../media/image47.jpeg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42.jpe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46.jpeg"/><Relationship Id="rId10" Type="http://schemas.openxmlformats.org/officeDocument/2006/relationships/image" Target="../media/image41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40.jpeg"/><Relationship Id="rId1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1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2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13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4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5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6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7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8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61620" y="3005107"/>
            <a:ext cx="224521" cy="18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2935" y="2781155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14725" y="2172415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97022" y="2004818"/>
            <a:ext cx="102005" cy="85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00700" y="3657968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46596" y="3410318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71948" y="3270660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98847" y="3200810"/>
            <a:ext cx="171040" cy="1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C:\Users\공유폴더\빛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58230" y="3221022"/>
            <a:ext cx="120414" cy="10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88504" y="5929330"/>
            <a:ext cx="7179140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914400" latinLnBrk="0">
              <a:defRPr/>
            </a:pPr>
            <a:r>
              <a:rPr lang="ko-KR" altLang="en-US" b="1" kern="0" spc="-60" dirty="0">
                <a:solidFill>
                  <a:sysClr val="windowText" lastClr="000000">
                    <a:lumMod val="50000"/>
                    <a:lumOff val="50000"/>
                  </a:sysClr>
                </a:solidFill>
              </a:rPr>
              <a:t>이인현 </a:t>
            </a:r>
            <a:r>
              <a:rPr lang="ko-KR" altLang="en-US" sz="1800" kern="0" spc="-60" dirty="0">
                <a:solidFill>
                  <a:srgbClr val="FFFFFF">
                    <a:lumMod val="65000"/>
                  </a:srgbClr>
                </a:solidFill>
              </a:rPr>
              <a:t>｜ </a:t>
            </a:r>
            <a:r>
              <a:rPr lang="en-US" altLang="ko-KR" sz="1400" kern="0" spc="-60" dirty="0">
                <a:solidFill>
                  <a:srgbClr val="FFFFFF">
                    <a:lumMod val="65000"/>
                  </a:srgbClr>
                </a:solidFill>
              </a:rPr>
              <a:t>2017. 12. 02</a:t>
            </a:r>
            <a:endParaRPr lang="ko-KR" altLang="en-US" sz="1400" kern="0" spc="-60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25" name="제목 1"/>
          <p:cNvSpPr txBox="1">
            <a:spLocks/>
          </p:cNvSpPr>
          <p:nvPr/>
        </p:nvSpPr>
        <p:spPr>
          <a:xfrm>
            <a:off x="595282" y="2420897"/>
            <a:ext cx="9135155" cy="8494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914229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  <a:defRPr/>
            </a:pPr>
            <a:r>
              <a:rPr lang="en-US" altLang="ko-KR" sz="2300" b="1" spc="-60" dirty="0">
                <a:solidFill>
                  <a:sysClr val="windowText" lastClr="000000">
                    <a:lumMod val="50000"/>
                    <a:lumOff val="50000"/>
                  </a:sysClr>
                </a:solidFill>
              </a:rPr>
              <a:t>AI Beauty Shop</a:t>
            </a:r>
          </a:p>
          <a:p>
            <a:pPr algn="l">
              <a:lnSpc>
                <a:spcPct val="120000"/>
              </a:lnSpc>
              <a:defRPr/>
            </a:pPr>
            <a:r>
              <a:rPr lang="en-US" altLang="ko-KR" sz="2300" b="1" spc="-60" dirty="0">
                <a:solidFill>
                  <a:sysClr val="windowText" lastClr="000000">
                    <a:lumMod val="50000"/>
                    <a:lumOff val="50000"/>
                  </a:sysClr>
                </a:solidFill>
              </a:rPr>
              <a:t>(Improving the quality of virtual beauty makeover using Cycle GAN)</a:t>
            </a:r>
          </a:p>
        </p:txBody>
      </p:sp>
    </p:spTree>
    <p:extLst>
      <p:ext uri="{BB962C8B-B14F-4D97-AF65-F5344CB8AC3E}">
        <p14:creationId xmlns:p14="http://schemas.microsoft.com/office/powerpoint/2010/main" val="1789118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42" name="제목 22"/>
          <p:cNvSpPr>
            <a:spLocks noGrp="1"/>
          </p:cNvSpPr>
          <p:nvPr>
            <p:ph type="title"/>
          </p:nvPr>
        </p:nvSpPr>
        <p:spPr>
          <a:xfrm>
            <a:off x="380968" y="621262"/>
            <a:ext cx="9396568" cy="800219"/>
          </a:xfrm>
        </p:spPr>
        <p:txBody>
          <a:bodyPr/>
          <a:lstStyle/>
          <a:p>
            <a:r>
              <a:rPr lang="ko-KR" altLang="en-US" dirty="0"/>
              <a:t>결과</a:t>
            </a:r>
            <a:r>
              <a:rPr lang="en-US" altLang="ko-KR" dirty="0"/>
              <a:t>:</a:t>
            </a:r>
            <a:r>
              <a:rPr lang="en-US" dirty="0"/>
              <a:t> </a:t>
            </a:r>
            <a:r>
              <a:rPr dirty="0"/>
              <a:t>인공지능이 생성한 염색 이미지는</a:t>
            </a:r>
            <a:r>
              <a:rPr lang="en-US" dirty="0"/>
              <a:t>? (10</a:t>
            </a:r>
            <a:r>
              <a:rPr dirty="0"/>
              <a:t>문제</a:t>
            </a:r>
            <a:r>
              <a:rPr lang="en-US" dirty="0"/>
              <a:t>:</a:t>
            </a:r>
            <a:r>
              <a:rPr dirty="0"/>
              <a:t> 위</a:t>
            </a:r>
            <a:r>
              <a:rPr lang="en-US" dirty="0"/>
              <a:t>, </a:t>
            </a:r>
            <a:r>
              <a:rPr dirty="0"/>
              <a:t>아래 선택</a:t>
            </a:r>
            <a:r>
              <a:rPr lang="en-US" dirty="0"/>
              <a:t>)</a:t>
            </a:r>
            <a:endParaRPr lang="ko-KR" altLang="en-US" sz="2000" dirty="0"/>
          </a:p>
        </p:txBody>
      </p:sp>
      <p:pic>
        <p:nvPicPr>
          <p:cNvPr id="435203" name="Picture 3" descr="C:\Users\STANLEY\Desktop\원본사진\_먮낯_ъ쭊\_쇱깋\New_000256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166918" y="1500174"/>
            <a:ext cx="1785950" cy="1785950"/>
          </a:xfrm>
          <a:prstGeom prst="rect">
            <a:avLst/>
          </a:prstGeom>
          <a:noFill/>
        </p:spPr>
      </p:pic>
      <p:pic>
        <p:nvPicPr>
          <p:cNvPr id="435204" name="Picture 4" descr="C:\Users\STANLEY\Desktop\원본사진\_먮낯_ъ쭊\_쇱깋\New_000001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09530" y="4286256"/>
            <a:ext cx="1785950" cy="1785950"/>
          </a:xfrm>
          <a:prstGeom prst="rect">
            <a:avLst/>
          </a:prstGeom>
          <a:noFill/>
        </p:spPr>
      </p:pic>
      <p:pic>
        <p:nvPicPr>
          <p:cNvPr id="435208" name="Picture 8" descr="C:\Users\STANLEY\Desktop\원본사진\_먮낯_ъ쭊\_쇱깋\New_000034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953132" y="4286256"/>
            <a:ext cx="1785950" cy="1785950"/>
          </a:xfrm>
          <a:prstGeom prst="rect">
            <a:avLst/>
          </a:prstGeom>
          <a:noFill/>
        </p:spPr>
      </p:pic>
      <p:pic>
        <p:nvPicPr>
          <p:cNvPr id="435213" name="Picture 13" descr="C:\Users\STANLEY\Desktop\원본사진\_먮낯_ъ쭊\_쇱깋\New_000091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095744" y="4286256"/>
            <a:ext cx="1785950" cy="1785950"/>
          </a:xfrm>
          <a:prstGeom prst="rect">
            <a:avLst/>
          </a:prstGeom>
          <a:noFill/>
        </p:spPr>
      </p:pic>
      <p:pic>
        <p:nvPicPr>
          <p:cNvPr id="25" name="그림 24" descr="New_000001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9530" y="1500174"/>
            <a:ext cx="1785950" cy="1785950"/>
          </a:xfrm>
          <a:prstGeom prst="rect">
            <a:avLst/>
          </a:prstGeom>
        </p:spPr>
      </p:pic>
      <p:pic>
        <p:nvPicPr>
          <p:cNvPr id="28" name="그림 27" descr="New_000007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10520" y="4286256"/>
            <a:ext cx="1785950" cy="1785950"/>
          </a:xfrm>
          <a:prstGeom prst="rect">
            <a:avLst/>
          </a:prstGeom>
        </p:spPr>
      </p:pic>
      <p:pic>
        <p:nvPicPr>
          <p:cNvPr id="30" name="그림 29" descr="New_000034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53132" y="1500174"/>
            <a:ext cx="1785950" cy="1785950"/>
          </a:xfrm>
          <a:prstGeom prst="rect">
            <a:avLst/>
          </a:prstGeom>
        </p:spPr>
      </p:pic>
      <p:pic>
        <p:nvPicPr>
          <p:cNvPr id="35" name="그림 34" descr="New_000091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95744" y="1500174"/>
            <a:ext cx="1785950" cy="1785950"/>
          </a:xfrm>
          <a:prstGeom prst="rect">
            <a:avLst/>
          </a:prstGeom>
        </p:spPr>
      </p:pic>
      <p:pic>
        <p:nvPicPr>
          <p:cNvPr id="41" name="그림 40" descr="New_000256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166918" y="4286256"/>
            <a:ext cx="1785950" cy="1785950"/>
          </a:xfrm>
          <a:prstGeom prst="rect">
            <a:avLst/>
          </a:prstGeom>
        </p:spPr>
      </p:pic>
      <p:pic>
        <p:nvPicPr>
          <p:cNvPr id="43" name="Picture 6" descr="C:\Users\STANLEY\Desktop\원본사진\_먮낯_ъ쭊\_쇱깋\New_000007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810520" y="1500174"/>
            <a:ext cx="1785950" cy="1785950"/>
          </a:xfrm>
          <a:prstGeom prst="rect">
            <a:avLst/>
          </a:prstGeom>
          <a:noFill/>
        </p:spPr>
      </p:pic>
      <p:sp>
        <p:nvSpPr>
          <p:cNvPr id="16" name="직사각형 15"/>
          <p:cNvSpPr/>
          <p:nvPr/>
        </p:nvSpPr>
        <p:spPr>
          <a:xfrm>
            <a:off x="238092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166918" y="4214818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024306" y="1500174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953132" y="1500174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810520" y="428625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12744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35212" name="Picture 12" descr="C:\Users\STANLEY\Desktop\원본사진\_먮낯_ъ쭊\_쇱깋\New_000086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38356" y="1428736"/>
            <a:ext cx="1785950" cy="1785950"/>
          </a:xfrm>
          <a:prstGeom prst="rect">
            <a:avLst/>
          </a:prstGeom>
          <a:noFill/>
        </p:spPr>
      </p:pic>
      <p:sp>
        <p:nvSpPr>
          <p:cNvPr id="20" name="제목 22"/>
          <p:cNvSpPr>
            <a:spLocks noGrp="1"/>
          </p:cNvSpPr>
          <p:nvPr>
            <p:ph type="title"/>
          </p:nvPr>
        </p:nvSpPr>
        <p:spPr>
          <a:xfrm>
            <a:off x="452406" y="621262"/>
            <a:ext cx="9325130" cy="800219"/>
          </a:xfrm>
        </p:spPr>
        <p:txBody>
          <a:bodyPr/>
          <a:lstStyle/>
          <a:p>
            <a:r>
              <a:rPr lang="ko-KR" altLang="en-US" dirty="0"/>
              <a:t>결과</a:t>
            </a:r>
            <a:r>
              <a:rPr lang="en-US" altLang="ko-KR" dirty="0"/>
              <a:t>:</a:t>
            </a:r>
            <a:r>
              <a:rPr lang="en-US" dirty="0"/>
              <a:t> </a:t>
            </a:r>
            <a:r>
              <a:rPr dirty="0"/>
              <a:t>인공지능이 생성한 염색 이미지는</a:t>
            </a:r>
            <a:r>
              <a:rPr lang="en-US" dirty="0"/>
              <a:t>? </a:t>
            </a:r>
            <a:r>
              <a:rPr lang="en-US" dirty="0">
                <a:solidFill>
                  <a:srgbClr val="FF0000"/>
                </a:solidFill>
              </a:rPr>
              <a:t>(</a:t>
            </a:r>
            <a:r>
              <a:rPr lang="en-US" altLang="ko-KR" dirty="0"/>
              <a:t>10</a:t>
            </a:r>
            <a:r>
              <a:rPr dirty="0"/>
              <a:t>문제</a:t>
            </a:r>
            <a:r>
              <a:rPr lang="en-US" altLang="ko-KR" dirty="0"/>
              <a:t>: </a:t>
            </a:r>
            <a:r>
              <a:rPr dirty="0">
                <a:solidFill>
                  <a:srgbClr val="FF0000"/>
                </a:solidFill>
              </a:rPr>
              <a:t>위</a:t>
            </a:r>
            <a:r>
              <a:rPr lang="en-US" dirty="0">
                <a:solidFill>
                  <a:srgbClr val="FF0000"/>
                </a:solidFill>
              </a:rPr>
              <a:t>, </a:t>
            </a:r>
            <a:r>
              <a:rPr dirty="0">
                <a:solidFill>
                  <a:srgbClr val="FF0000"/>
                </a:solidFill>
              </a:rPr>
              <a:t>아래 선택</a:t>
            </a:r>
            <a:r>
              <a:rPr lang="en-US" dirty="0">
                <a:solidFill>
                  <a:srgbClr val="FF0000"/>
                </a:solidFill>
              </a:rPr>
              <a:t>)</a:t>
            </a:r>
            <a:endParaRPr lang="ko-KR" altLang="en-US" sz="2000" dirty="0"/>
          </a:p>
        </p:txBody>
      </p:sp>
      <p:pic>
        <p:nvPicPr>
          <p:cNvPr id="28" name="그림 27" descr="New_000043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67182" y="1428736"/>
            <a:ext cx="1785950" cy="1785950"/>
          </a:xfrm>
          <a:prstGeom prst="rect">
            <a:avLst/>
          </a:prstGeom>
        </p:spPr>
      </p:pic>
      <p:pic>
        <p:nvPicPr>
          <p:cNvPr id="29" name="그림 28" descr="New_000078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530" y="1428736"/>
            <a:ext cx="1785950" cy="1785950"/>
          </a:xfrm>
          <a:prstGeom prst="rect">
            <a:avLst/>
          </a:prstGeom>
        </p:spPr>
      </p:pic>
      <p:pic>
        <p:nvPicPr>
          <p:cNvPr id="30" name="그림 29" descr="New_000086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38356" y="4143380"/>
            <a:ext cx="1785950" cy="1785950"/>
          </a:xfrm>
          <a:prstGeom prst="rect">
            <a:avLst/>
          </a:prstGeom>
        </p:spPr>
      </p:pic>
      <p:pic>
        <p:nvPicPr>
          <p:cNvPr id="34" name="Picture 10" descr="C:\Users\STANLEY\Desktop\원본사진\_먮낯_ъ쭊\_쇱깋\New_000043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167182" y="4143380"/>
            <a:ext cx="1785950" cy="1785950"/>
          </a:xfrm>
          <a:prstGeom prst="rect">
            <a:avLst/>
          </a:prstGeom>
          <a:noFill/>
        </p:spPr>
      </p:pic>
      <p:pic>
        <p:nvPicPr>
          <p:cNvPr id="35" name="Picture 14" descr="C:\Users\STANLEY\Desktop\원본사진\_먮낯_ъ쭊\_쇱깋\New_000094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024570" y="4143380"/>
            <a:ext cx="1785950" cy="1785950"/>
          </a:xfrm>
          <a:prstGeom prst="rect">
            <a:avLst/>
          </a:prstGeom>
          <a:noFill/>
        </p:spPr>
      </p:pic>
      <p:pic>
        <p:nvPicPr>
          <p:cNvPr id="36" name="Picture 11" descr="C:\Users\STANLEY\Desktop\원본사진\_먮낯_ъ쭊\_쇱깋\New_00007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09530" y="4143380"/>
            <a:ext cx="1785950" cy="1785950"/>
          </a:xfrm>
          <a:prstGeom prst="rect">
            <a:avLst/>
          </a:prstGeom>
          <a:noFill/>
        </p:spPr>
      </p:pic>
      <p:pic>
        <p:nvPicPr>
          <p:cNvPr id="37" name="Picture 5" descr="C:\Users\STANLEY\Desktop\원본사진\_먮낯_ъ쭊\_쇱깋\New_000003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881958" y="1428736"/>
            <a:ext cx="1785950" cy="1785950"/>
          </a:xfrm>
          <a:prstGeom prst="rect">
            <a:avLst/>
          </a:prstGeom>
          <a:noFill/>
        </p:spPr>
      </p:pic>
      <p:pic>
        <p:nvPicPr>
          <p:cNvPr id="38" name="그림 37" descr="New_000003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81958" y="4143380"/>
            <a:ext cx="1785950" cy="1785950"/>
          </a:xfrm>
          <a:prstGeom prst="rect">
            <a:avLst/>
          </a:prstGeom>
        </p:spPr>
      </p:pic>
      <p:pic>
        <p:nvPicPr>
          <p:cNvPr id="39" name="그림 38" descr="New_000094.jp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030100" y="1428736"/>
            <a:ext cx="1785950" cy="1785950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309530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166918" y="4143380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4167182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024570" y="1428736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7810520" y="4071942"/>
            <a:ext cx="1857388" cy="18573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 latinLnBrk="0"/>
            <a:endParaRPr lang="ko-KR" altLang="en-US" sz="1400" spc="-6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12744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85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17" name="제목 22"/>
          <p:cNvSpPr>
            <a:spLocks noGrp="1"/>
          </p:cNvSpPr>
          <p:nvPr>
            <p:ph type="title"/>
          </p:nvPr>
        </p:nvSpPr>
        <p:spPr>
          <a:xfrm>
            <a:off x="523844" y="621262"/>
            <a:ext cx="9184156" cy="400110"/>
          </a:xfrm>
        </p:spPr>
        <p:txBody>
          <a:bodyPr/>
          <a:lstStyle/>
          <a:p>
            <a:r>
              <a:rPr lang="ko-KR" altLang="en-US" dirty="0"/>
              <a:t>결과</a:t>
            </a:r>
            <a:r>
              <a:rPr lang="en-US" altLang="ko-KR" dirty="0"/>
              <a:t>:</a:t>
            </a:r>
            <a:r>
              <a:rPr lang="en-US" dirty="0"/>
              <a:t> </a:t>
            </a:r>
            <a:r>
              <a:rPr dirty="0"/>
              <a:t>인공지능이 생성한 화장 이미지</a:t>
            </a:r>
            <a:endParaRPr lang="ko-KR" altLang="en-US" sz="2000" dirty="0"/>
          </a:p>
        </p:txBody>
      </p:sp>
      <p:pic>
        <p:nvPicPr>
          <p:cNvPr id="7" name="그림 6" descr="New_000012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7182" y="1500174"/>
            <a:ext cx="1714512" cy="1714512"/>
          </a:xfrm>
          <a:prstGeom prst="rect">
            <a:avLst/>
          </a:prstGeom>
        </p:spPr>
      </p:pic>
      <p:pic>
        <p:nvPicPr>
          <p:cNvPr id="8" name="그림 7" descr="New_000012_20000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67182" y="4214818"/>
            <a:ext cx="1714512" cy="1714512"/>
          </a:xfrm>
          <a:prstGeom prst="rect">
            <a:avLst/>
          </a:prstGeom>
        </p:spPr>
      </p:pic>
      <p:pic>
        <p:nvPicPr>
          <p:cNvPr id="9" name="그림 8" descr="New_000022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282" y="1500174"/>
            <a:ext cx="1714512" cy="1714512"/>
          </a:xfrm>
          <a:prstGeom prst="rect">
            <a:avLst/>
          </a:prstGeom>
        </p:spPr>
      </p:pic>
      <p:pic>
        <p:nvPicPr>
          <p:cNvPr id="10" name="그림 9" descr="New_000022_20000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282" y="4214818"/>
            <a:ext cx="1714512" cy="1714512"/>
          </a:xfrm>
          <a:prstGeom prst="rect">
            <a:avLst/>
          </a:prstGeom>
        </p:spPr>
      </p:pic>
      <p:pic>
        <p:nvPicPr>
          <p:cNvPr id="20" name="그림 19" descr="_멸났吏__New_000047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53132" y="4214818"/>
            <a:ext cx="1714512" cy="1714512"/>
          </a:xfrm>
          <a:prstGeom prst="rect">
            <a:avLst/>
          </a:prstGeom>
        </p:spPr>
      </p:pic>
      <p:pic>
        <p:nvPicPr>
          <p:cNvPr id="21" name="그림 20" descr="_멸났吏__New_000048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39082" y="4143380"/>
            <a:ext cx="1785950" cy="1785950"/>
          </a:xfrm>
          <a:prstGeom prst="rect">
            <a:avLst/>
          </a:prstGeom>
        </p:spPr>
      </p:pic>
      <p:pic>
        <p:nvPicPr>
          <p:cNvPr id="28" name="그림 27" descr="_멸났吏__New_000069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81232" y="4214818"/>
            <a:ext cx="1714512" cy="1714512"/>
          </a:xfrm>
          <a:prstGeom prst="rect">
            <a:avLst/>
          </a:prstGeom>
        </p:spPr>
      </p:pic>
      <p:pic>
        <p:nvPicPr>
          <p:cNvPr id="40" name="그림 39" descr="New_000047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31238" y="1500174"/>
            <a:ext cx="1736406" cy="1736406"/>
          </a:xfrm>
          <a:prstGeom prst="rect">
            <a:avLst/>
          </a:prstGeom>
        </p:spPr>
      </p:pic>
      <p:pic>
        <p:nvPicPr>
          <p:cNvPr id="41" name="그림 40" descr="New_000048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39082" y="1500174"/>
            <a:ext cx="1785950" cy="1785950"/>
          </a:xfrm>
          <a:prstGeom prst="rect">
            <a:avLst/>
          </a:prstGeom>
        </p:spPr>
      </p:pic>
      <p:pic>
        <p:nvPicPr>
          <p:cNvPr id="47" name="그림 46" descr="New_000069.jp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381232" y="1500174"/>
            <a:ext cx="1714512" cy="171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744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165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6720" y="428604"/>
            <a:ext cx="8786874" cy="598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2676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3844" y="642918"/>
            <a:ext cx="8737311" cy="5643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369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3844" y="642918"/>
            <a:ext cx="9144064" cy="558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472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3844" y="571480"/>
            <a:ext cx="8916365" cy="5857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5747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0968" y="642918"/>
            <a:ext cx="9215502" cy="60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677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2406" y="642918"/>
            <a:ext cx="9001188" cy="5848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779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2405" y="642918"/>
            <a:ext cx="8990593" cy="5572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79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400" spc="-60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pic>
        <p:nvPicPr>
          <p:cNvPr id="4188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2406" y="571480"/>
            <a:ext cx="8858312" cy="5942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6727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1&quot;/&gt;&lt;elem&gt;&lt;m_nPartnerID val=&quot;530&quot;/&gt;&lt;m_nIndex val=&quot;3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miDPa.kUODu2xIpUw3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_w_Gy8FUKwfob30se6i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9g4ZMKckycK2esZiQA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V5gqFikmk.Cq_662n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DQ_5HRykWXG3XMQBFr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gnXBlHZMAEuM3a.WzJrk4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M.lJ7JU6yzUieg9eD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5_9LSZ30eKCrlbl67D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Q8HOj4vE6hsdpQ65Lg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Kk2aeD06XgOtgT2Bi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.YlBQh0aTnsBLfZfh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bSO5tLLUK5ZLLu0zDq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GQmEouKkuLp_pDY0wU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K6EobUECmWy9ijg6_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0xv.RXAUW4CwmKaFkN1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aHrFVvFr0a1fnxrTvDrkg"/>
</p:tagLst>
</file>

<file path=ppt/theme/theme1.xml><?xml version="1.0" encoding="utf-8"?>
<a:theme xmlns:a="http://schemas.openxmlformats.org/drawingml/2006/main" name="9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12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10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1_디자인 사용자 지정">
  <a:themeElements>
    <a:clrScheme name="사용자 지정 9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F8FB"/>
        </a:solidFill>
      </a:spPr>
      <a:bodyPr wrap="none" lIns="0" tIns="0" rIns="0" bIns="0" rtlCol="0" anchor="ctr" anchorCtr="0">
        <a:noAutofit/>
      </a:bodyPr>
      <a:lstStyle>
        <a:defPPr algn="ctr" latinLnBrk="0">
          <a:defRPr sz="1400" spc="-6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8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5000"/>
              <a:lumOff val="35000"/>
            </a:schemeClr>
          </a:solidFill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12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6_디자인 사용자 지정">
  <a:themeElements>
    <a:clrScheme name="사용자 지정 5">
      <a:dk1>
        <a:srgbClr val="000000"/>
      </a:dk1>
      <a:lt1>
        <a:srgbClr val="FFFFFF"/>
      </a:lt1>
      <a:dk2>
        <a:srgbClr val="404040"/>
      </a:dk2>
      <a:lt2>
        <a:srgbClr val="595959"/>
      </a:lt2>
      <a:accent1>
        <a:srgbClr val="FF0000"/>
      </a:accent1>
      <a:accent2>
        <a:srgbClr val="BFBFBF"/>
      </a:accent2>
      <a:accent3>
        <a:srgbClr val="A095A9"/>
      </a:accent3>
      <a:accent4>
        <a:srgbClr val="CCC6D1"/>
      </a:accent4>
      <a:accent5>
        <a:srgbClr val="626262"/>
      </a:accent5>
      <a:accent6>
        <a:srgbClr val="FF5555"/>
      </a:accent6>
      <a:hlink>
        <a:srgbClr val="FFFFFF"/>
      </a:hlink>
      <a:folHlink>
        <a:srgbClr val="FFFFFF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2700">
          <a:noFill/>
        </a:ln>
      </a:spPr>
      <a:bodyPr rtlCol="0" anchor="ctr"/>
      <a:lstStyle>
        <a:defPPr algn="ctr" fontAlgn="base">
          <a:spcBef>
            <a:spcPct val="0"/>
          </a:spcBef>
          <a:spcAft>
            <a:spcPct val="0"/>
          </a:spcAft>
          <a:defRPr spc="-60" dirty="0" err="1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3175">
          <a:noFill/>
        </a:ln>
        <a:effectLst/>
      </a:spPr>
      <a:bodyPr wrap="square" lIns="0" tIns="0" rIns="0" bIns="0" rtlCol="0">
        <a:spAutoFit/>
      </a:bodyPr>
      <a:lstStyle>
        <a:defPPr marL="180975" indent="-180975" defTabSz="975022" latinLnBrk="0">
          <a:spcBef>
            <a:spcPts val="500"/>
          </a:spcBef>
          <a:buClr>
            <a:schemeClr val="tx1">
              <a:lumMod val="65000"/>
              <a:lumOff val="35000"/>
            </a:schemeClr>
          </a:buClr>
          <a:buSzPct val="60000"/>
          <a:buFont typeface="Wingdings" pitchFamily="2" charset="2"/>
          <a:buChar char="l"/>
          <a:defRPr sz="1500" b="1" spc="-60" dirty="0" smtClean="0">
            <a:solidFill>
              <a:schemeClr val="tx1">
                <a:lumMod val="65000"/>
                <a:lumOff val="35000"/>
              </a:schemeClr>
            </a:solidFill>
            <a:latin typeface="+mn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Firm Format - Korean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Custom 82">
      <a:majorFont>
        <a:latin typeface="Arial"/>
        <a:ea typeface="-윤고딕150"/>
        <a:cs typeface=""/>
      </a:majorFont>
      <a:minorFont>
        <a:latin typeface="Arial"/>
        <a:ea typeface="-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Blank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BFBFBF"/>
      </a:accent2>
      <a:accent3>
        <a:srgbClr val="BFBFBF"/>
      </a:accent3>
      <a:accent4>
        <a:srgbClr val="A5A5A5"/>
      </a:accent4>
      <a:accent5>
        <a:srgbClr val="00296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SEO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336</TotalTime>
  <Words>64</Words>
  <Application>Microsoft Office PowerPoint</Application>
  <PresentationFormat>A4 용지(210x297mm)</PresentationFormat>
  <Paragraphs>10</Paragraphs>
  <Slides>12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7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36" baseType="lpstr">
      <vt:lpstr>굴림</vt:lpstr>
      <vt:lpstr>나눔명조 ExtraBold</vt:lpstr>
      <vt:lpstr>맑은 고딕</vt:lpstr>
      <vt:lpstr>-윤고딕130</vt:lpstr>
      <vt:lpstr>-윤고딕150</vt:lpstr>
      <vt:lpstr>Arial</vt:lpstr>
      <vt:lpstr>9_디자인 사용자 지정</vt:lpstr>
      <vt:lpstr>5_디자인 사용자 지정</vt:lpstr>
      <vt:lpstr>6_디자인 사용자 지정</vt:lpstr>
      <vt:lpstr>Firm Format - Korean</vt:lpstr>
      <vt:lpstr>10_Blank</vt:lpstr>
      <vt:lpstr>5_Blank</vt:lpstr>
      <vt:lpstr>6_Blank</vt:lpstr>
      <vt:lpstr>9_Blank</vt:lpstr>
      <vt:lpstr>11_Blank</vt:lpstr>
      <vt:lpstr>12_Blank</vt:lpstr>
      <vt:lpstr>Blank</vt:lpstr>
      <vt:lpstr>7_디자인 사용자 지정</vt:lpstr>
      <vt:lpstr>1_디자인 사용자 지정</vt:lpstr>
      <vt:lpstr>10_디자인 사용자 지정</vt:lpstr>
      <vt:lpstr>11_디자인 사용자 지정</vt:lpstr>
      <vt:lpstr>8_디자인 사용자 지정</vt:lpstr>
      <vt:lpstr>12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결과: 인공지능이 생성한 염색 이미지는? (10문제: 위, 아래 선택)</vt:lpstr>
      <vt:lpstr>결과: 인공지능이 생성한 염색 이미지는? (10문제: 위, 아래 선택)</vt:lpstr>
      <vt:lpstr>결과: 인공지능이 생성한 화장 이미지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dmin</dc:creator>
  <cp:lastModifiedBy>user</cp:lastModifiedBy>
  <cp:revision>3210</cp:revision>
  <cp:lastPrinted>2015-03-31T06:13:51Z</cp:lastPrinted>
  <dcterms:created xsi:type="dcterms:W3CDTF">2013-07-17T06:53:09Z</dcterms:created>
  <dcterms:modified xsi:type="dcterms:W3CDTF">2018-02-04T14:44:48Z</dcterms:modified>
</cp:coreProperties>
</file>